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4"/>
  </p:sldMasterIdLst>
  <p:notesMasterIdLst>
    <p:notesMasterId r:id="rId15"/>
  </p:notesMasterIdLst>
  <p:handoutMasterIdLst>
    <p:handoutMasterId r:id="rId16"/>
  </p:handoutMasterIdLst>
  <p:sldIdLst>
    <p:sldId id="925" r:id="rId5"/>
    <p:sldId id="954" r:id="rId6"/>
    <p:sldId id="943" r:id="rId7"/>
    <p:sldId id="956" r:id="rId8"/>
    <p:sldId id="955" r:id="rId9"/>
    <p:sldId id="957" r:id="rId10"/>
    <p:sldId id="959" r:id="rId11"/>
    <p:sldId id="958" r:id="rId12"/>
    <p:sldId id="961" r:id="rId13"/>
    <p:sldId id="960" r:id="rId14"/>
  </p:sldIdLst>
  <p:sldSz cx="10058400" cy="7772400"/>
  <p:notesSz cx="6810375" cy="9942513"/>
  <p:custDataLst>
    <p:tags r:id="rId17"/>
  </p:custDataLst>
  <p:defaultTextStyle>
    <a:defPPr>
      <a:defRPr lang="en-US"/>
    </a:defPPr>
    <a:lvl1pPr marL="0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1FAD35B6-682E-4890-AC06-87565E54F034}">
          <p14:sldIdLst>
            <p14:sldId id="925"/>
            <p14:sldId id="954"/>
            <p14:sldId id="943"/>
            <p14:sldId id="956"/>
            <p14:sldId id="955"/>
            <p14:sldId id="957"/>
            <p14:sldId id="959"/>
            <p14:sldId id="958"/>
            <p14:sldId id="961"/>
            <p14:sldId id="96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">
          <p15:clr>
            <a:srgbClr val="A4A3A4"/>
          </p15:clr>
        </p15:guide>
        <p15:guide id="2" orient="horz" pos="4668">
          <p15:clr>
            <a:srgbClr val="A4A3A4"/>
          </p15:clr>
        </p15:guide>
        <p15:guide id="3" orient="horz" pos="4533">
          <p15:clr>
            <a:srgbClr val="A4A3A4"/>
          </p15:clr>
        </p15:guide>
        <p15:guide id="4" orient="horz" pos="4278">
          <p15:clr>
            <a:srgbClr val="A4A3A4"/>
          </p15:clr>
        </p15:guide>
        <p15:guide id="5" orient="horz" pos="624">
          <p15:clr>
            <a:srgbClr val="A4A3A4"/>
          </p15:clr>
        </p15:guide>
        <p15:guide id="6" orient="horz" pos="720">
          <p15:clr>
            <a:srgbClr val="A4A3A4"/>
          </p15:clr>
        </p15:guide>
        <p15:guide id="7" orient="horz" pos="1296">
          <p15:clr>
            <a:srgbClr val="A4A3A4"/>
          </p15:clr>
        </p15:guide>
        <p15:guide id="8" orient="horz" pos="1392">
          <p15:clr>
            <a:srgbClr val="A4A3A4"/>
          </p15:clr>
        </p15:guide>
        <p15:guide id="9" orient="horz" pos="1776">
          <p15:clr>
            <a:srgbClr val="A4A3A4"/>
          </p15:clr>
        </p15:guide>
        <p15:guide id="10" orient="horz" pos="1872">
          <p15:clr>
            <a:srgbClr val="A4A3A4"/>
          </p15:clr>
        </p15:guide>
        <p15:guide id="11" orient="horz" pos="2256">
          <p15:clr>
            <a:srgbClr val="A4A3A4"/>
          </p15:clr>
        </p15:guide>
        <p15:guide id="12" orient="horz" pos="2352">
          <p15:clr>
            <a:srgbClr val="A4A3A4"/>
          </p15:clr>
        </p15:guide>
        <p15:guide id="13" orient="horz" pos="2736">
          <p15:clr>
            <a:srgbClr val="A4A3A4"/>
          </p15:clr>
        </p15:guide>
        <p15:guide id="14" orient="horz" pos="2832">
          <p15:clr>
            <a:srgbClr val="A4A3A4"/>
          </p15:clr>
        </p15:guide>
        <p15:guide id="15" orient="horz" pos="3216">
          <p15:clr>
            <a:srgbClr val="A4A3A4"/>
          </p15:clr>
        </p15:guide>
        <p15:guide id="16" orient="horz" pos="3312">
          <p15:clr>
            <a:srgbClr val="A4A3A4"/>
          </p15:clr>
        </p15:guide>
        <p15:guide id="17" orient="horz" pos="3696">
          <p15:clr>
            <a:srgbClr val="A4A3A4"/>
          </p15:clr>
        </p15:guide>
        <p15:guide id="18" orient="horz" pos="3792">
          <p15:clr>
            <a:srgbClr val="A4A3A4"/>
          </p15:clr>
        </p15:guide>
        <p15:guide id="19" orient="horz" pos="4176">
          <p15:clr>
            <a:srgbClr val="A4A3A4"/>
          </p15:clr>
        </p15:guide>
        <p15:guide id="20" orient="horz" pos="4386">
          <p15:clr>
            <a:srgbClr val="A4A3A4"/>
          </p15:clr>
        </p15:guide>
        <p15:guide id="21" pos="336">
          <p15:clr>
            <a:srgbClr val="A4A3A4"/>
          </p15:clr>
        </p15:guide>
        <p15:guide id="22" pos="6000">
          <p15:clr>
            <a:srgbClr val="A4A3A4"/>
          </p15:clr>
        </p15:guide>
        <p15:guide id="23" pos="1200">
          <p15:clr>
            <a:srgbClr val="A4A3A4"/>
          </p15:clr>
        </p15:guide>
        <p15:guide id="24" pos="1296">
          <p15:clr>
            <a:srgbClr val="A4A3A4"/>
          </p15:clr>
        </p15:guide>
        <p15:guide id="25" pos="2160">
          <p15:clr>
            <a:srgbClr val="A4A3A4"/>
          </p15:clr>
        </p15:guide>
        <p15:guide id="26" pos="2256">
          <p15:clr>
            <a:srgbClr val="A4A3A4"/>
          </p15:clr>
        </p15:guide>
        <p15:guide id="27" pos="3120">
          <p15:clr>
            <a:srgbClr val="A4A3A4"/>
          </p15:clr>
        </p15:guide>
        <p15:guide id="28" pos="3216">
          <p15:clr>
            <a:srgbClr val="A4A3A4"/>
          </p15:clr>
        </p15:guide>
        <p15:guide id="29" pos="4080">
          <p15:clr>
            <a:srgbClr val="A4A3A4"/>
          </p15:clr>
        </p15:guide>
        <p15:guide id="30" pos="4176">
          <p15:clr>
            <a:srgbClr val="A4A3A4"/>
          </p15:clr>
        </p15:guide>
        <p15:guide id="31" pos="5040">
          <p15:clr>
            <a:srgbClr val="A4A3A4"/>
          </p15:clr>
        </p15:guide>
        <p15:guide id="32" pos="513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8C6D"/>
    <a:srgbClr val="FF0000"/>
    <a:srgbClr val="D62E1C"/>
    <a:srgbClr val="D9D9D9"/>
    <a:srgbClr val="F2F2F2"/>
    <a:srgbClr val="A6A6A6"/>
    <a:srgbClr val="D5D1C5"/>
    <a:srgbClr val="CD2F0F"/>
    <a:srgbClr val="DC6900"/>
    <a:srgbClr val="FFC2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5C30875-5027-47A9-8995-C2BF9F8F2FF4}">
  <a:tblStyle styleId="{D5C30875-5027-47A9-8995-C2BF9F8F2FF4}" styleName="Smart Colour Block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1H>
    <a:band2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solidFill>
            <a:schemeClr val="accent1">
              <a:lumMod val="20000"/>
              <a:lumOff val="80000"/>
            </a:schemeClr>
          </a:solidFill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noFill/>
        </a:fill>
      </a:tcStyle>
    </a:firstRow>
  </a:tblStyle>
  <a:tblStyle styleId="{74ED0A72-4B8E-423B-AE2F-120ADE3C16FB}" styleName="Smart Table Tex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D360D96-D63B-11DF-A243-F2A3DFD72085}" styleName="Smart Table Figures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>
              <a:noFill/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aj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ajor">
          <a:prstClr val="black"/>
        </a:fontRef>
        <a:schemeClr val="dk2"/>
      </a:tcTxStyle>
      <a:tcStyle>
        <a:tcBdr/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20" autoAdjust="0"/>
    <p:restoredTop sz="98998" autoAdjust="0"/>
  </p:normalViewPr>
  <p:slideViewPr>
    <p:cSldViewPr snapToObjects="1">
      <p:cViewPr>
        <p:scale>
          <a:sx n="66" d="100"/>
          <a:sy n="66" d="100"/>
        </p:scale>
        <p:origin x="888" y="-152"/>
      </p:cViewPr>
      <p:guideLst>
        <p:guide orient="horz" pos="432"/>
        <p:guide orient="horz" pos="4668"/>
        <p:guide orient="horz" pos="4533"/>
        <p:guide orient="horz" pos="4278"/>
        <p:guide orient="horz" pos="624"/>
        <p:guide orient="horz" pos="720"/>
        <p:guide orient="horz" pos="1296"/>
        <p:guide orient="horz" pos="1392"/>
        <p:guide orient="horz" pos="1776"/>
        <p:guide orient="horz" pos="1872"/>
        <p:guide orient="horz" pos="2256"/>
        <p:guide orient="horz" pos="2352"/>
        <p:guide orient="horz" pos="2736"/>
        <p:guide orient="horz" pos="2832"/>
        <p:guide orient="horz" pos="3216"/>
        <p:guide orient="horz" pos="3312"/>
        <p:guide orient="horz" pos="3696"/>
        <p:guide orient="horz" pos="3792"/>
        <p:guide orient="horz" pos="4176"/>
        <p:guide orient="horz" pos="4386"/>
        <p:guide pos="336"/>
        <p:guide pos="6000"/>
        <p:guide pos="1200"/>
        <p:guide pos="1296"/>
        <p:guide pos="2160"/>
        <p:guide pos="2256"/>
        <p:guide pos="3120"/>
        <p:guide pos="3216"/>
        <p:guide pos="4080"/>
        <p:guide pos="4176"/>
        <p:guide pos="5040"/>
        <p:guide pos="51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59" d="100"/>
          <a:sy n="59" d="100"/>
        </p:scale>
        <p:origin x="-1818" y="-72"/>
      </p:cViewPr>
      <p:guideLst>
        <p:guide orient="horz" pos="3132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7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D35B1-60AB-43F7-96E0-8278C11AA7BA}" type="datetimeFigureOut">
              <a:rPr lang="en-GB" smtClean="0"/>
              <a:pPr/>
              <a:t>12/06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7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1CB74D-572E-4F08-9394-3ECB1E1638A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83059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7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8B935B-3E5D-4FF0-8ED3-E5C882647223}" type="datetimeFigureOut">
              <a:rPr lang="en-US" smtClean="0"/>
              <a:pPr/>
              <a:t>6/12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746125"/>
            <a:ext cx="48228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7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8706B8-EBCC-470A-8AE8-B49CE76EE6E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7152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2.xml"/><Relationship Id="rId9" Type="http://schemas.openxmlformats.org/officeDocument/2006/relationships/tags" Target="../tags/tag11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4" Type="http://schemas.openxmlformats.org/officeDocument/2006/relationships/tags" Target="../tags/tag121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5" Type="http://schemas.openxmlformats.org/officeDocument/2006/relationships/tags" Target="../tags/tag130.xml"/><Relationship Id="rId10" Type="http://schemas.openxmlformats.org/officeDocument/2006/relationships/tags" Target="../tags/tag135.xml"/><Relationship Id="rId4" Type="http://schemas.openxmlformats.org/officeDocument/2006/relationships/tags" Target="../tags/tag129.xml"/><Relationship Id="rId9" Type="http://schemas.openxmlformats.org/officeDocument/2006/relationships/tags" Target="../tags/tag134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tags" Target="../tags/tag147.xml"/><Relationship Id="rId5" Type="http://schemas.openxmlformats.org/officeDocument/2006/relationships/tags" Target="../tags/tag141.xml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4" Type="http://schemas.openxmlformats.org/officeDocument/2006/relationships/tags" Target="../tags/tag151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4" Type="http://schemas.openxmlformats.org/officeDocument/2006/relationships/tags" Target="../tags/tag159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4" Type="http://schemas.openxmlformats.org/officeDocument/2006/relationships/tags" Target="../tags/tag167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5" Type="http://schemas.openxmlformats.org/officeDocument/2006/relationships/tags" Target="../tags/tag176.xml"/><Relationship Id="rId4" Type="http://schemas.openxmlformats.org/officeDocument/2006/relationships/tags" Target="../tags/tag175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image" Target="../media/image1.emf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2" Type="http://schemas.openxmlformats.org/officeDocument/2006/relationships/tags" Target="../tags/tag52.xml"/><Relationship Id="rId16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Logo with Panels"/>
          <p:cNvGrpSpPr/>
          <p:nvPr userDrawn="1"/>
        </p:nvGrpSpPr>
        <p:grpSpPr>
          <a:xfrm>
            <a:off x="1130368" y="0"/>
            <a:ext cx="8928031" cy="7318210"/>
            <a:chOff x="1130368" y="0"/>
            <a:chExt cx="8928031" cy="7318210"/>
          </a:xfrm>
        </p:grpSpPr>
        <p:grpSp>
          <p:nvGrpSpPr>
            <p:cNvPr id="4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057864"/>
                <a:ext cx="6492240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057864"/>
                <a:ext cx="6248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1018824" rtl="0" eaLnBrk="1" latinLnBrk="0" hangingPunct="1"/>
                <a:endParaRPr lang="en-GB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</p:grpSp>
        <p:grpSp>
          <p:nvGrpSpPr>
            <p:cNvPr id="3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057400" y="678216"/>
            <a:ext cx="3526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00" noProof="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white">
          <a:xfrm>
            <a:off x="2056818" y="1261037"/>
            <a:ext cx="5943600" cy="443198"/>
          </a:xfrm>
        </p:spPr>
        <p:txBody>
          <a:bodyPr vert="horz" lIns="0" tIns="0" rIns="0" bIns="0" rtlCol="0" anchor="t" anchorCtr="0">
            <a:spAutoFit/>
          </a:bodyPr>
          <a:lstStyle>
            <a:lvl1pPr algn="l" defTabSz="10188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Report Title</a:t>
            </a:r>
            <a:endParaRPr lang="en-GB" noProof="0" dirty="0"/>
          </a:p>
        </p:txBody>
      </p:sp>
      <p:sp>
        <p:nvSpPr>
          <p:cNvPr id="41" name="Report Subtitle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white">
          <a:xfrm>
            <a:off x="2056818" y="1752600"/>
            <a:ext cx="5943600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Subtitle</a:t>
            </a:r>
          </a:p>
        </p:txBody>
      </p:sp>
      <p:sp>
        <p:nvSpPr>
          <p:cNvPr id="45" name="Confidentiality Stamp"/>
          <p:cNvSpPr txBox="1"/>
          <p:nvPr userDrawn="1">
            <p:custDataLst>
              <p:tags r:id="rId4"/>
            </p:custDataLst>
          </p:nvPr>
        </p:nvSpPr>
        <p:spPr>
          <a:xfrm>
            <a:off x="530352" y="3730752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000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30352" y="4041648"/>
            <a:ext cx="1371600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1000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33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30352" y="4343400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000" i="1" dirty="0">
              <a:latin typeface="Georgia" pitchFamily="18" charset="0"/>
            </a:endParaRP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381000" y="3592800"/>
            <a:ext cx="1371600" cy="144000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ver image"/>
          <p:cNvSpPr txBox="1"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1904334" y="3589973"/>
            <a:ext cx="6719929" cy="320040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en-GB" sz="2200" dirty="0" smtClean="0">
              <a:latin typeface="Georgia" pitchFamily="18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30352" y="2057400"/>
            <a:ext cx="4425696" cy="2359152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102352" y="2057400"/>
            <a:ext cx="4425696" cy="2359152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30352" y="4572000"/>
            <a:ext cx="4425696" cy="2359152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102352" y="4572000"/>
            <a:ext cx="4425696" cy="2359152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9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1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50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51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4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56" name="Straight Connector 55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33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7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9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3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12" name="HeaderTOCPlaceholder"/>
          <p:cNvSpPr txBox="1"/>
          <p:nvPr userDrawn="1">
            <p:custDataLst>
              <p:tags r:id="rId1"/>
            </p:custDataLst>
          </p:nvPr>
        </p:nvSpPr>
        <p:spPr>
          <a:xfrm>
            <a:off x="3581399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8" name="Report Date"/>
          <p:cNvSpPr txBox="1"/>
          <p:nvPr userDrawn="1">
            <p:custDataLst>
              <p:tags r:id="rId1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12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13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3581399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18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10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6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7" name="Slide Tags" hidden="1"/>
          <p:cNvSpPr txBox="1"/>
          <p:nvPr userDrawn="1">
            <p:custDataLst>
              <p:tags r:id="rId9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1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8" name="Report Date"/>
          <p:cNvSpPr txBox="1"/>
          <p:nvPr userDrawn="1">
            <p:custDataLst>
              <p:tags r:id="rId1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12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13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3581399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10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6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7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29200" y="1004400"/>
            <a:ext cx="2891125" cy="1477328"/>
          </a:xfrm>
        </p:spPr>
        <p:txBody>
          <a:bodyPr wrap="square" tIns="0" bIns="0" anchor="t">
            <a:spAutoFit/>
          </a:bodyPr>
          <a:lstStyle>
            <a:lvl1pPr algn="l">
              <a:defRPr sz="3200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 smtClean="0"/>
              <a:t>Click to add Section Divider Title</a:t>
            </a:r>
            <a:endParaRPr lang="en-GB" noProof="0" dirty="0"/>
          </a:p>
        </p:txBody>
      </p:sp>
      <p:sp>
        <p:nvSpPr>
          <p:cNvPr id="25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3589200" y="1029600"/>
            <a:ext cx="5943600" cy="59046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noProof="1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3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23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4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3581399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9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14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11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30351" y="1004400"/>
            <a:ext cx="2898649" cy="1477328"/>
          </a:xfrm>
        </p:spPr>
        <p:txBody>
          <a:bodyPr wrap="square" tIns="0" bIns="0" anchor="t">
            <a:spAutoFit/>
          </a:bodyPr>
          <a:lstStyle>
            <a:lvl1pPr algn="l">
              <a:defRPr sz="3200" b="1" i="1" cap="none" baseline="0">
                <a:latin typeface="+mj-lt"/>
              </a:defRPr>
            </a:lvl1pPr>
          </a:lstStyle>
          <a:p>
            <a:r>
              <a:rPr lang="en-GB" noProof="0" dirty="0" smtClean="0"/>
              <a:t>Click to add Appendix Divider Title</a:t>
            </a:r>
            <a:endParaRPr lang="en-GB" noProof="0" dirty="0"/>
          </a:p>
        </p:txBody>
      </p:sp>
      <p:sp>
        <p:nvSpPr>
          <p:cNvPr id="18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3589200" y="1029600"/>
            <a:ext cx="5943600" cy="5904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noProof="1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0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1" name="Report Date"/>
          <p:cNvSpPr txBox="1"/>
          <p:nvPr userDrawn="1">
            <p:custDataLst>
              <p:tags r:id="rId3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25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6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3581399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7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19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3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17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6" name="Slide Tags" hidden="1"/>
          <p:cNvSpPr txBox="1"/>
          <p:nvPr userDrawn="1">
            <p:custDataLst>
              <p:tags r:id="rId11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 gl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nner"/>
          <p:cNvSpPr>
            <a:spLocks noGrp="1"/>
          </p:cNvSpPr>
          <p:nvPr>
            <p:ph type="title" hasCustomPrompt="1"/>
          </p:nvPr>
        </p:nvSpPr>
        <p:spPr>
          <a:xfrm>
            <a:off x="530352" y="1066800"/>
            <a:ext cx="2898648" cy="841248"/>
          </a:xfrm>
        </p:spPr>
        <p:txBody>
          <a:bodyPr wrap="square" tIns="0" bIns="0" anchor="t">
            <a:noAutofit/>
          </a:bodyPr>
          <a:lstStyle>
            <a:lvl1pPr algn="l">
              <a:defRPr sz="1500" b="1" i="0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 smtClean="0"/>
              <a:t>At a glance</a:t>
            </a:r>
            <a:endParaRPr lang="en-GB" noProof="0" dirty="0"/>
          </a:p>
        </p:txBody>
      </p:sp>
      <p:sp>
        <p:nvSpPr>
          <p:cNvPr id="17" name="Text Placeholder"/>
          <p:cNvSpPr>
            <a:spLocks noGrp="1"/>
          </p:cNvSpPr>
          <p:nvPr>
            <p:ph type="body" sz="quarter" idx="30" hasCustomPrompt="1"/>
          </p:nvPr>
        </p:nvSpPr>
        <p:spPr>
          <a:xfrm>
            <a:off x="3585600" y="1066799"/>
            <a:ext cx="5942448" cy="84124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10188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lang="en-GB" sz="1100" b="0" i="1" kern="120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PwC view – Insert text here</a:t>
            </a:r>
          </a:p>
        </p:txBody>
      </p:sp>
      <p:sp>
        <p:nvSpPr>
          <p:cNvPr id="18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1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23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3584448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14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1" name="Slide Tags" hidden="1"/>
          <p:cNvSpPr txBox="1"/>
          <p:nvPr userDrawn="1"/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 glance 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nner"/>
          <p:cNvSpPr>
            <a:spLocks noGrp="1"/>
          </p:cNvSpPr>
          <p:nvPr>
            <p:ph type="title" hasCustomPrompt="1"/>
          </p:nvPr>
        </p:nvSpPr>
        <p:spPr>
          <a:xfrm>
            <a:off x="530352" y="1066800"/>
            <a:ext cx="2898648" cy="841248"/>
          </a:xfrm>
        </p:spPr>
        <p:txBody>
          <a:bodyPr wrap="square" tIns="0" bIns="0" anchor="t">
            <a:noAutofit/>
          </a:bodyPr>
          <a:lstStyle>
            <a:lvl1pPr algn="l">
              <a:defRPr sz="1500" b="1" i="0" cap="none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GB" noProof="0" dirty="0" smtClean="0"/>
              <a:t>At a glance – our views</a:t>
            </a:r>
            <a:endParaRPr lang="en-GB" noProof="0" dirty="0"/>
          </a:p>
        </p:txBody>
      </p:sp>
      <p:sp>
        <p:nvSpPr>
          <p:cNvPr id="17" name="Text Placeholder"/>
          <p:cNvSpPr>
            <a:spLocks noGrp="1"/>
          </p:cNvSpPr>
          <p:nvPr>
            <p:ph type="body" sz="quarter" idx="30" hasCustomPrompt="1"/>
          </p:nvPr>
        </p:nvSpPr>
        <p:spPr>
          <a:xfrm>
            <a:off x="3585600" y="1066799"/>
            <a:ext cx="5943600" cy="84124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10188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lang="en-GB" sz="1100" b="0" i="1" kern="120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Insert text her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quarter" idx="31"/>
          </p:nvPr>
        </p:nvSpPr>
        <p:spPr>
          <a:xfrm>
            <a:off x="530352" y="2057400"/>
            <a:ext cx="2898648" cy="4882896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32"/>
          </p:nvPr>
        </p:nvSpPr>
        <p:spPr>
          <a:xfrm>
            <a:off x="3584448" y="2057400"/>
            <a:ext cx="2898648" cy="4882896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3" name="Content Placeholder 4"/>
          <p:cNvSpPr>
            <a:spLocks noGrp="1"/>
          </p:cNvSpPr>
          <p:nvPr>
            <p:ph sz="quarter" idx="33"/>
          </p:nvPr>
        </p:nvSpPr>
        <p:spPr>
          <a:xfrm>
            <a:off x="6629400" y="2057400"/>
            <a:ext cx="2898648" cy="4882896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8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1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23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3584448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14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1" name="Slide Tags" hidden="1"/>
          <p:cNvSpPr txBox="1"/>
          <p:nvPr userDrawn="1"/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7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 a glance 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nner"/>
          <p:cNvSpPr>
            <a:spLocks noGrp="1"/>
          </p:cNvSpPr>
          <p:nvPr>
            <p:ph type="title" hasCustomPrompt="1"/>
          </p:nvPr>
        </p:nvSpPr>
        <p:spPr>
          <a:xfrm>
            <a:off x="530352" y="1066800"/>
            <a:ext cx="2898648" cy="841248"/>
          </a:xfrm>
        </p:spPr>
        <p:txBody>
          <a:bodyPr wrap="square" tIns="0" bIns="0" anchor="t">
            <a:noAutofit/>
          </a:bodyPr>
          <a:lstStyle>
            <a:lvl1pPr algn="l">
              <a:defRPr sz="1500" b="1" i="0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 smtClean="0"/>
              <a:t>At a glance – our views</a:t>
            </a:r>
            <a:endParaRPr lang="en-GB" noProof="0" dirty="0"/>
          </a:p>
        </p:txBody>
      </p:sp>
      <p:sp>
        <p:nvSpPr>
          <p:cNvPr id="17" name="Text Placeholder"/>
          <p:cNvSpPr>
            <a:spLocks noGrp="1"/>
          </p:cNvSpPr>
          <p:nvPr>
            <p:ph type="body" sz="quarter" idx="30" hasCustomPrompt="1"/>
          </p:nvPr>
        </p:nvSpPr>
        <p:spPr>
          <a:xfrm>
            <a:off x="3585600" y="1066799"/>
            <a:ext cx="5943600" cy="84124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10188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lang="en-GB" sz="1100" b="0" i="1" kern="120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Insert text her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quarter" idx="31"/>
          </p:nvPr>
        </p:nvSpPr>
        <p:spPr>
          <a:xfrm>
            <a:off x="530352" y="2057400"/>
            <a:ext cx="2898648" cy="2359152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32"/>
          </p:nvPr>
        </p:nvSpPr>
        <p:spPr>
          <a:xfrm>
            <a:off x="3584447" y="2057400"/>
            <a:ext cx="2898648" cy="2359152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3" name="Content Placeholder 4"/>
          <p:cNvSpPr>
            <a:spLocks noGrp="1"/>
          </p:cNvSpPr>
          <p:nvPr>
            <p:ph sz="quarter" idx="33"/>
          </p:nvPr>
        </p:nvSpPr>
        <p:spPr>
          <a:xfrm>
            <a:off x="6629399" y="2057400"/>
            <a:ext cx="2898648" cy="2359152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6" name="Content Placeholder 5"/>
          <p:cNvSpPr>
            <a:spLocks noGrp="1"/>
          </p:cNvSpPr>
          <p:nvPr>
            <p:ph sz="quarter" idx="34"/>
          </p:nvPr>
        </p:nvSpPr>
        <p:spPr>
          <a:xfrm>
            <a:off x="530352" y="4572000"/>
            <a:ext cx="2898648" cy="2359152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35"/>
          </p:nvPr>
        </p:nvSpPr>
        <p:spPr>
          <a:xfrm>
            <a:off x="3584447" y="4572000"/>
            <a:ext cx="2898648" cy="2359152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0" name="Content Placeholder 7"/>
          <p:cNvSpPr>
            <a:spLocks noGrp="1"/>
          </p:cNvSpPr>
          <p:nvPr>
            <p:ph sz="quarter" idx="36"/>
          </p:nvPr>
        </p:nvSpPr>
        <p:spPr>
          <a:xfrm>
            <a:off x="6629399" y="4572000"/>
            <a:ext cx="2898648" cy="2359152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8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1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23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3584448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5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14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1" name="Slide Tags" hidden="1"/>
          <p:cNvSpPr txBox="1"/>
          <p:nvPr userDrawn="1"/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7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4422648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0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heading here</a:t>
            </a:r>
            <a:r>
              <a:rPr lang="en-GB" dirty="0" smtClean="0"/>
              <a:t> – Insert text here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5105399" y="1069975"/>
            <a:ext cx="4425696" cy="841375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1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PwC view – Inserted text here should not be bold.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30352" y="2057400"/>
            <a:ext cx="8997696" cy="488289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17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30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35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5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8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3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24" name="Slide Tags" hidden="1"/>
          <p:cNvSpPr txBox="1"/>
          <p:nvPr userDrawn="1">
            <p:custDataLst>
              <p:tags r:id="rId10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130368" y="0"/>
            <a:ext cx="8928031" cy="7318210"/>
            <a:chOff x="1130368" y="0"/>
            <a:chExt cx="8928031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057382"/>
                <a:ext cx="6492240" cy="5708197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057382"/>
                <a:ext cx="6248400" cy="5708197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1018824" rtl="0" eaLnBrk="1" latinLnBrk="0" hangingPunct="1"/>
                <a:endParaRPr lang="en-GB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1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057400" y="673200"/>
            <a:ext cx="3526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00" noProof="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2" name="Report 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white">
          <a:xfrm>
            <a:off x="2056818" y="1261037"/>
            <a:ext cx="5943600" cy="443198"/>
          </a:xfrm>
        </p:spPr>
        <p:txBody>
          <a:bodyPr vert="horz" lIns="0" tIns="0" rIns="0" bIns="0" rtlCol="0" anchor="t" anchorCtr="0">
            <a:spAutoFit/>
          </a:bodyPr>
          <a:lstStyle>
            <a:lvl1pPr algn="l" defTabSz="10188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Report Title</a:t>
            </a:r>
            <a:endParaRPr lang="en-GB" noProof="0" dirty="0"/>
          </a:p>
        </p:txBody>
      </p:sp>
      <p:sp>
        <p:nvSpPr>
          <p:cNvPr id="31" name="Report Subtitle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white">
          <a:xfrm>
            <a:off x="2056818" y="1752600"/>
            <a:ext cx="5943600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Subtitle</a:t>
            </a:r>
          </a:p>
        </p:txBody>
      </p:sp>
      <p:sp>
        <p:nvSpPr>
          <p:cNvPr id="42" name="Confidentiality Stamp"/>
          <p:cNvSpPr txBox="1"/>
          <p:nvPr userDrawn="1">
            <p:custDataLst>
              <p:tags r:id="rId4"/>
            </p:custDataLst>
          </p:nvPr>
        </p:nvSpPr>
        <p:spPr>
          <a:xfrm>
            <a:off x="530352" y="3730752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000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4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30352" y="4041648"/>
            <a:ext cx="1371600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1000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30352" y="4343400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000" i="1" dirty="0">
              <a:latin typeface="Georgia" pitchFamily="18" charset="0"/>
            </a:endParaRP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381000" y="3592800"/>
            <a:ext cx="1371600" cy="144000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34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530352" y="4645152"/>
            <a:ext cx="1225296" cy="1298448"/>
          </a:xfrm>
        </p:spPr>
        <p:txBody>
          <a:bodyPr/>
          <a:lstStyle>
            <a:lvl1pPr>
              <a:defRPr sz="1000" i="1"/>
            </a:lvl1pPr>
          </a:lstStyle>
          <a:p>
            <a:pPr lvl="0"/>
            <a:r>
              <a:rPr lang="en-GB" dirty="0" smtClean="0"/>
              <a:t>Click to enter text</a:t>
            </a:r>
            <a:endParaRPr lang="en-GB" dirty="0"/>
          </a:p>
        </p:txBody>
      </p:sp>
      <p:sp>
        <p:nvSpPr>
          <p:cNvPr id="36" name="Cover image"/>
          <p:cNvSpPr txBox="1"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1904334" y="3589973"/>
            <a:ext cx="6719929" cy="320040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en-GB" sz="2200" dirty="0" smtClean="0">
              <a:latin typeface="Georgia" pitchFamily="18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4422648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0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heading here</a:t>
            </a:r>
            <a:r>
              <a:rPr lang="en-GB" dirty="0" smtClean="0"/>
              <a:t> – Insert text here</a:t>
            </a:r>
            <a:endParaRPr lang="en-GB" dirty="0"/>
          </a:p>
        </p:txBody>
      </p:sp>
      <p:sp>
        <p:nvSpPr>
          <p:cNvPr id="35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5105399" y="1069975"/>
            <a:ext cx="4425696" cy="841375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1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PwC view – Inserted text here should not be bold.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30352" y="2057400"/>
            <a:ext cx="4421981" cy="4882896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106195" y="2057400"/>
            <a:ext cx="4425696" cy="4882896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3" name="Report Date"/>
          <p:cNvSpPr txBox="1"/>
          <p:nvPr userDrawn="1">
            <p:custDataLst>
              <p:tags r:id="rId3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8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9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1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11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6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R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4422648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0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heading here</a:t>
            </a:r>
            <a:r>
              <a:rPr lang="en-GB" dirty="0" smtClean="0"/>
              <a:t> – Insert text here</a:t>
            </a:r>
            <a:endParaRPr lang="en-GB" dirty="0"/>
          </a:p>
        </p:txBody>
      </p:sp>
      <p:sp>
        <p:nvSpPr>
          <p:cNvPr id="53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5105399" y="1069975"/>
            <a:ext cx="4425696" cy="841375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1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PwC view – Inserted text here should not be bold.</a:t>
            </a:r>
          </a:p>
        </p:txBody>
      </p:sp>
      <p:sp>
        <p:nvSpPr>
          <p:cNvPr id="41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42" name="Report Date"/>
          <p:cNvSpPr txBox="1"/>
          <p:nvPr userDrawn="1">
            <p:custDataLst>
              <p:tags r:id="rId1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46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47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0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52" name="Straight Connector 51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2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44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30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7" name="Slide Tags" hidden="1"/>
          <p:cNvSpPr txBox="1"/>
          <p:nvPr userDrawn="1">
            <p:custDataLst>
              <p:tags r:id="rId9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1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500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8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530352" y="2057400"/>
            <a:ext cx="8997696" cy="4882896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4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31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45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7" name="Draft stamp" hidden="1"/>
          <p:cNvSpPr txBox="1"/>
          <p:nvPr userDrawn="1">
            <p:custDataLst>
              <p:tags r:id="rId10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1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12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6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9428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8" name="think-cell Slide" r:id="rId15" imgW="384" imgH="385" progId="TCLayout.ActiveDocument.1">
                  <p:embed/>
                </p:oleObj>
              </mc:Choice>
              <mc:Fallback>
                <p:oleObj name="think-cell Slide" r:id="rId1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530352" y="2057400"/>
            <a:ext cx="4425696" cy="4882896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5102352" y="2057400"/>
            <a:ext cx="4425696" cy="4882896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4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31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45" name="HeaderTOCPlaceholder"/>
          <p:cNvSpPr txBox="1"/>
          <p:nvPr userDrawn="1">
            <p:custDataLst>
              <p:tags r:id="rId7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8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7" name="Draft stamp" hidden="1"/>
          <p:cNvSpPr txBox="1"/>
          <p:nvPr userDrawn="1">
            <p:custDataLst>
              <p:tags r:id="rId11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1" name="Date/Filepath" hidden="1"/>
          <p:cNvSpPr txBox="1"/>
          <p:nvPr userDrawn="1">
            <p:custDataLst>
              <p:tags r:id="rId12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13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30352" y="2057400"/>
            <a:ext cx="5956300" cy="4882896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629401" y="2057400"/>
            <a:ext cx="2892552" cy="4882896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4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3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3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45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8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7" name="Draft stamp" hidden="1"/>
          <p:cNvSpPr txBox="1"/>
          <p:nvPr userDrawn="1">
            <p:custDataLst>
              <p:tags r:id="rId9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1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11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30351" y="2057400"/>
            <a:ext cx="4422649" cy="2362200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30351" y="4572000"/>
            <a:ext cx="4422649" cy="2359152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105400" y="2057400"/>
            <a:ext cx="4425696" cy="4882896"/>
          </a:xfrm>
        </p:spPr>
        <p:txBody>
          <a:bodyPr tIns="0" bIns="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6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7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43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44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>
          <a:xfrm>
            <a:off x="5364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30" name="Draft stamp" hidden="1"/>
          <p:cNvSpPr txBox="1"/>
          <p:nvPr userDrawn="1">
            <p:custDataLst>
              <p:tags r:id="rId10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5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20" name="Slide Tags" hidden="1"/>
          <p:cNvSpPr txBox="1"/>
          <p:nvPr userDrawn="1">
            <p:custDataLst>
              <p:tags r:id="rId12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057400"/>
            <a:ext cx="4425696" cy="1527048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102352" y="2057400"/>
            <a:ext cx="4425696" cy="1527048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3733800"/>
            <a:ext cx="8997696" cy="3200400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23" name="PwC Text"/>
          <p:cNvSpPr txBox="1"/>
          <p:nvPr userDrawn="1"/>
        </p:nvSpPr>
        <p:spPr>
          <a:xfrm>
            <a:off x="530352" y="7315200"/>
            <a:ext cx="274320" cy="10715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1"/>
            </p:custDataLst>
          </p:nvPr>
        </p:nvSpPr>
        <p:spPr>
          <a:xfrm>
            <a:off x="8819777" y="7159752"/>
            <a:ext cx="698909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3 June 2019</a:t>
            </a:r>
            <a:endParaRPr lang="en-GB" sz="900" noProof="1" smtClean="0">
              <a:latin typeface="+mn-lt"/>
            </a:endParaRPr>
          </a:p>
        </p:txBody>
      </p:sp>
      <p:sp>
        <p:nvSpPr>
          <p:cNvPr id="4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46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9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3584448" y="7159752"/>
            <a:ext cx="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900" noProof="1" smtClean="0"/>
          </a:p>
        </p:txBody>
      </p:sp>
      <p:cxnSp>
        <p:nvCxnSpPr>
          <p:cNvPr id="51" name="Straight Connector 50"/>
          <p:cNvCxnSpPr/>
          <p:nvPr userDrawn="1"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31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7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3584448" y="7298142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2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12/06/2019 C:\Users\926064\Documents\OfS pack - 12Feb2019 final.pptx</a:t>
            </a:r>
            <a:endParaRPr lang="en-GB" sz="900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9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557776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" name="think-cell Slide" r:id="rId25" imgW="395" imgH="394" progId="TCLayout.ActiveDocument.1">
                  <p:embed/>
                </p:oleObj>
              </mc:Choice>
              <mc:Fallback>
                <p:oleObj name="think-cell Slide" r:id="rId2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0" name="Grid" hidden="1"/>
          <p:cNvGrpSpPr/>
          <p:nvPr>
            <p:custDataLst>
              <p:tags r:id="rId24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7" name="Group 106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5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4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3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1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2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352" y="1069848"/>
            <a:ext cx="8997696" cy="8412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057400"/>
            <a:ext cx="8997696" cy="48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45552" y="7086600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9421298-5ECC-4ECF-8253-524571409FFE}" type="datetimeFigureOut">
              <a:rPr lang="en-GB" smtClean="0"/>
              <a:pPr/>
              <a:t>12/06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0352" y="7086600"/>
            <a:ext cx="5779008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45552" y="7242048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27" r:id="rId2"/>
    <p:sldLayoutId id="2147483728" r:id="rId3"/>
    <p:sldLayoutId id="2147483703" r:id="rId4"/>
    <p:sldLayoutId id="2147483729" r:id="rId5"/>
    <p:sldLayoutId id="2147483701" r:id="rId6"/>
    <p:sldLayoutId id="2147483700" r:id="rId7"/>
    <p:sldLayoutId id="2147483697" r:id="rId8"/>
    <p:sldLayoutId id="2147483720" r:id="rId9"/>
    <p:sldLayoutId id="2147483696" r:id="rId10"/>
    <p:sldLayoutId id="2147483705" r:id="rId11"/>
    <p:sldLayoutId id="2147483688" r:id="rId12"/>
    <p:sldLayoutId id="2147483721" r:id="rId13"/>
    <p:sldLayoutId id="2147483730" r:id="rId14"/>
    <p:sldLayoutId id="2147483711" r:id="rId15"/>
    <p:sldLayoutId id="2147483708" r:id="rId16"/>
    <p:sldLayoutId id="2147483722" r:id="rId17"/>
    <p:sldLayoutId id="2147483731" r:id="rId18"/>
    <p:sldLayoutId id="2147483732" r:id="rId19"/>
    <p:sldLayoutId id="2147483717" r:id="rId20"/>
  </p:sldLayoutIdLst>
  <p:txStyles>
    <p:titleStyle>
      <a:lvl1pPr algn="l" defTabSz="1018824" rtl="0" eaLnBrk="1" latinLnBrk="0" hangingPunct="1">
        <a:spcBef>
          <a:spcPct val="0"/>
        </a:spcBef>
        <a:buNone/>
        <a:defRPr sz="1400" b="1" i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Wingdings" pitchFamily="2" charset="2"/>
        <a:buNone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34950" marR="0" indent="-2286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Times New Roman" pitchFamily="18" charset="0"/>
        <a:buChar char="•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68000" marR="0" indent="-2304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Arial" pitchFamily="34" charset="0"/>
        <a:buChar char="-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94800" marR="0" indent="-2304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◦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914400" marR="0" indent="-2286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›"/>
        <a:tabLst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34000" indent="-230400" algn="l" defTabSz="101882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68000" indent="-228600" algn="l" defTabSz="101882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94800" indent="-228600" algn="l" defTabSz="101882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101882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lang="en-GB" sz="11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5" Type="http://schemas.openxmlformats.org/officeDocument/2006/relationships/tags" Target="../tags/tag241.xml"/><Relationship Id="rId4" Type="http://schemas.openxmlformats.org/officeDocument/2006/relationships/tags" Target="../tags/tag2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tags" Target="../tags/tag191.xml"/><Relationship Id="rId5" Type="http://schemas.openxmlformats.org/officeDocument/2006/relationships/tags" Target="../tags/tag190.xml"/><Relationship Id="rId4" Type="http://schemas.openxmlformats.org/officeDocument/2006/relationships/tags" Target="../tags/tag18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5" Type="http://schemas.openxmlformats.org/officeDocument/2006/relationships/tags" Target="../tags/tag196.xml"/><Relationship Id="rId4" Type="http://schemas.openxmlformats.org/officeDocument/2006/relationships/tags" Target="../tags/tag19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4" Type="http://schemas.openxmlformats.org/officeDocument/2006/relationships/tags" Target="../tags/tag20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4" Type="http://schemas.openxmlformats.org/officeDocument/2006/relationships/tags" Target="../tags/tag20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5" Type="http://schemas.openxmlformats.org/officeDocument/2006/relationships/tags" Target="../tags/tag214.xml"/><Relationship Id="rId4" Type="http://schemas.openxmlformats.org/officeDocument/2006/relationships/tags" Target="../tags/tag2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5" Type="http://schemas.openxmlformats.org/officeDocument/2006/relationships/tags" Target="../tags/tag220.xml"/><Relationship Id="rId4" Type="http://schemas.openxmlformats.org/officeDocument/2006/relationships/tags" Target="../tags/tag219.xml"/><Relationship Id="rId9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5" Type="http://schemas.openxmlformats.org/officeDocument/2006/relationships/tags" Target="../tags/tag228.xml"/><Relationship Id="rId4" Type="http://schemas.openxmlformats.org/officeDocument/2006/relationships/tags" Target="../tags/tag22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1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5" name="Group 4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4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5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0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2056818" y="1261037"/>
            <a:ext cx="5943600" cy="886397"/>
          </a:xfrm>
        </p:spPr>
        <p:txBody>
          <a:bodyPr/>
          <a:lstStyle/>
          <a:p>
            <a:r>
              <a:rPr lang="en-GB" dirty="0" smtClean="0"/>
              <a:t>How can the HE sector be future-proofed?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056818" y="2147434"/>
            <a:ext cx="5943600" cy="443198"/>
          </a:xfrm>
        </p:spPr>
        <p:txBody>
          <a:bodyPr/>
          <a:lstStyle/>
          <a:p>
            <a:r>
              <a:rPr lang="en-GB" dirty="0" smtClean="0"/>
              <a:t>Navigating the new landscape</a:t>
            </a:r>
            <a:endParaRPr lang="en-GB" dirty="0"/>
          </a:p>
        </p:txBody>
      </p:sp>
      <p:sp>
        <p:nvSpPr>
          <p:cNvPr id="55" name="Descriptor"/>
          <p:cNvSpPr txBox="1"/>
          <p:nvPr>
            <p:custDataLst>
              <p:tags r:id="rId4"/>
            </p:custDataLst>
          </p:nvPr>
        </p:nvSpPr>
        <p:spPr bwMode="white">
          <a:xfrm>
            <a:off x="2057400" y="678216"/>
            <a:ext cx="1075615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00" noProof="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Education Strategy</a:t>
            </a:r>
            <a:endParaRPr lang="en-GB" sz="1000" noProof="0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Draft Stamp" hidden="1"/>
          <p:cNvSpPr txBox="1"/>
          <p:nvPr>
            <p:custDataLst>
              <p:tags r:id="rId5"/>
            </p:custDataLst>
          </p:nvPr>
        </p:nvSpPr>
        <p:spPr bwMode="black">
          <a:xfrm>
            <a:off x="530352" y="4038529"/>
            <a:ext cx="1371600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000" b="1" i="1" dirty="0" smtClean="0">
                <a:solidFill>
                  <a:schemeClr val="tx1"/>
                </a:solidFill>
                <a:latin typeface="Georgia" pitchFamily="18" charset="0"/>
              </a:rPr>
              <a:t>Draft</a:t>
            </a:r>
            <a:endParaRPr lang="en-GB" sz="1000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58" name="Report Date"/>
          <p:cNvSpPr txBox="1"/>
          <p:nvPr>
            <p:custDataLst>
              <p:tags r:id="rId6"/>
            </p:custDataLst>
          </p:nvPr>
        </p:nvSpPr>
        <p:spPr bwMode="black">
          <a:xfrm>
            <a:off x="530352" y="3884641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 i="1" dirty="0" smtClean="0">
                <a:latin typeface="Georgia" pitchFamily="18" charset="0"/>
              </a:rPr>
              <a:t>13 June 2019</a:t>
            </a:r>
            <a:endParaRPr lang="en-GB" sz="1000" i="1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499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5" name="Group 4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4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5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0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This raises the game for university senior leadership and governors, who will have to look harder for threats / opportunities</a:t>
            </a:r>
            <a:endParaRPr lang="en-GB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5" name="Page Number"/>
          <p:cNvSpPr txBox="1"/>
          <p:nvPr>
            <p:custDataLst>
              <p:tags r:id="rId4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900" noProof="1" smtClean="0"/>
              <a:t>10</a:t>
            </a:r>
            <a:endParaRPr lang="en-GB" sz="900" noProof="1" smtClean="0"/>
          </a:p>
        </p:txBody>
      </p:sp>
      <p:sp>
        <p:nvSpPr>
          <p:cNvPr id="56" name="Section Footer"/>
          <p:cNvSpPr txBox="1"/>
          <p:nvPr>
            <p:custDataLst>
              <p:tags r:id="rId5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How can the HE sector be future-proofed?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7" name="Section Header" hidden="1"/>
          <p:cNvSpPr txBox="1"/>
          <p:nvPr>
            <p:custDataLst>
              <p:tags r:id="rId6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 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8" name="Content Placeholder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00588" y="2306732"/>
            <a:ext cx="7954614" cy="45305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680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948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4000" indent="-2304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80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48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What’s the challenge?</a:t>
            </a:r>
            <a:endParaRPr lang="en-GB" sz="2400" b="1" dirty="0">
              <a:solidFill>
                <a:schemeClr val="tx2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60400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Understanding where you are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2893704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Spotting change</a:t>
            </a:r>
            <a:endParaRPr lang="en-GB" sz="1600" b="1" dirty="0">
              <a:latin typeface="+mj-lt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5127008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harting a course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7360312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ourse correction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780728" y="3996175"/>
            <a:ext cx="1920408" cy="32008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Subject strength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Georgia" pitchFamily="18" charset="0"/>
                <a:cs typeface="Arial" pitchFamily="34" charset="0"/>
              </a:rPr>
              <a:t>Aspirational vs. back-up pl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Student segments &amp; objectiv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“Competitive perimeter”</a:t>
            </a: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Georgia" pitchFamily="18" charset="0"/>
                <a:cs typeface="Arial" pitchFamily="34" charset="0"/>
              </a:rPr>
              <a:t>Financial drivers</a:t>
            </a:r>
          </a:p>
          <a:p>
            <a:endParaRPr lang="en-GB" sz="1600" noProof="0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982985" y="3996175"/>
            <a:ext cx="1920408" cy="246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Trends (long ter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Shifts (between cycl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Divergence (within cycl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u="sng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Leading</a:t>
            </a: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indicators of change</a:t>
            </a:r>
            <a:endParaRPr lang="en-GB" sz="1600" noProof="0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5247336" y="3996175"/>
            <a:ext cx="1920408" cy="270843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Objective vs. mechan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Focus</a:t>
            </a:r>
            <a:r>
              <a:rPr lang="en-GB" sz="1600" noProof="0" dirty="0" smtClean="0">
                <a:latin typeface="Georgia" pitchFamily="18" charset="0"/>
                <a:cs typeface="Arial" pitchFamily="34" charset="0"/>
              </a:rPr>
              <a:t> vs. covering the ba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latin typeface="Georgia" pitchFamily="18" charset="0"/>
                <a:cs typeface="Arial" pitchFamily="34" charset="0"/>
              </a:rPr>
              <a:t>Wider stakeholders and community nee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Ruthlessness?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426348" y="3996175"/>
            <a:ext cx="1920408" cy="246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Plan 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Retrench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Institutional flexib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Success on every measure may not be possib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10268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5" name="Group 4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4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5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0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Future-proofing the sector is a slightly different challeng</a:t>
            </a:r>
            <a:r>
              <a:rPr lang="en-GB" sz="2000" dirty="0" smtClean="0"/>
              <a:t>e </a:t>
            </a:r>
            <a:r>
              <a:rPr lang="en-GB" sz="2000" dirty="0" smtClean="0"/>
              <a:t>than ensuring the survival (in a recognisable form) of each institution</a:t>
            </a:r>
            <a:endParaRPr lang="en-GB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700588" y="2306732"/>
            <a:ext cx="7954614" cy="453053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What are we trying to future-proof?</a:t>
            </a:r>
            <a:endParaRPr lang="en-GB" sz="2400" b="1" dirty="0">
              <a:solidFill>
                <a:schemeClr val="tx2"/>
              </a:solidFill>
            </a:endParaRPr>
          </a:p>
        </p:txBody>
      </p:sp>
      <p:sp>
        <p:nvSpPr>
          <p:cNvPr id="55" name="Page Number"/>
          <p:cNvSpPr txBox="1"/>
          <p:nvPr>
            <p:custDataLst>
              <p:tags r:id="rId4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900" noProof="1" smtClean="0"/>
              <a:t>2</a:t>
            </a:r>
            <a:endParaRPr lang="en-GB" sz="900" noProof="1" smtClean="0"/>
          </a:p>
        </p:txBody>
      </p:sp>
      <p:sp>
        <p:nvSpPr>
          <p:cNvPr id="56" name="Section Footer"/>
          <p:cNvSpPr txBox="1"/>
          <p:nvPr>
            <p:custDataLst>
              <p:tags r:id="rId5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How can the HE sector be future-proofed?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7" name="Section Header" hidden="1"/>
          <p:cNvSpPr txBox="1"/>
          <p:nvPr>
            <p:custDataLst>
              <p:tags r:id="rId6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356792" y="3166120"/>
            <a:ext cx="3168352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The UK HE Sector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5461248" y="3166120"/>
            <a:ext cx="3168352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.143 individual universities     (+ others)</a:t>
            </a:r>
            <a:endParaRPr lang="en-GB" sz="1600" b="1" dirty="0" smtClean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426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5" name="Group 4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4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5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0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Future-proofing the sector is a slightly different challeng</a:t>
            </a:r>
            <a:r>
              <a:rPr lang="en-GB" sz="2000" dirty="0" smtClean="0"/>
              <a:t>e </a:t>
            </a:r>
            <a:r>
              <a:rPr lang="en-GB" sz="2000" dirty="0" smtClean="0"/>
              <a:t>than ensuring the survival (in a recognisable form) of each institution</a:t>
            </a:r>
            <a:endParaRPr lang="en-GB" sz="2000" dirty="0"/>
          </a:p>
        </p:txBody>
      </p:sp>
      <p:sp>
        <p:nvSpPr>
          <p:cNvPr id="55" name="Page Number"/>
          <p:cNvSpPr txBox="1"/>
          <p:nvPr>
            <p:custDataLst>
              <p:tags r:id="rId3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900" noProof="1" smtClean="0"/>
              <a:t>3</a:t>
            </a:r>
            <a:endParaRPr lang="en-GB" sz="900" noProof="1" smtClean="0"/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How can the HE sector be future-proofed?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7" name="Section Header" hidden="1"/>
          <p:cNvSpPr txBox="1"/>
          <p:nvPr>
            <p:custDataLst>
              <p:tags r:id="rId5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356792" y="3166120"/>
            <a:ext cx="3168352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The UK HE Sector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5461248" y="3166120"/>
            <a:ext cx="3168352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.143 individual universities     (+ others)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356792" y="3730752"/>
            <a:ext cx="3168352" cy="2888704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j-lt"/>
              </a:rPr>
              <a:t>International reputation for quality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j-lt"/>
              </a:rPr>
              <a:t>Driver of UK research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j-lt"/>
              </a:rPr>
              <a:t>Driver of workforce skills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j-lt"/>
              </a:rPr>
              <a:t>Engine for social mobility</a:t>
            </a:r>
          </a:p>
        </p:txBody>
      </p:sp>
      <p:sp>
        <p:nvSpPr>
          <p:cNvPr id="61" name="Rectangle 60"/>
          <p:cNvSpPr/>
          <p:nvPr/>
        </p:nvSpPr>
        <p:spPr>
          <a:xfrm>
            <a:off x="5461248" y="3733800"/>
            <a:ext cx="3168352" cy="2888704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j-lt"/>
              </a:rPr>
              <a:t>Individual brands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j-lt"/>
              </a:rPr>
              <a:t>Current (and future?) staff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j-lt"/>
              </a:rPr>
              <a:t>Local economic hubs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j-lt"/>
              </a:rPr>
              <a:t>Local learning and career opportunities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GB" sz="1600" dirty="0" smtClean="0">
                <a:latin typeface="+mj-lt"/>
              </a:rPr>
              <a:t>Prospects (and stress levels) of current students</a:t>
            </a:r>
            <a:endParaRPr lang="en-GB" sz="1600" dirty="0">
              <a:latin typeface="+mj-lt"/>
            </a:endParaRPr>
          </a:p>
        </p:txBody>
      </p:sp>
      <p:sp>
        <p:nvSpPr>
          <p:cNvPr id="63" name="Content Placeholder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00588" y="2306732"/>
            <a:ext cx="7954614" cy="45305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680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948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4000" indent="-2304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80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48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What are we trying to future-proof?</a:t>
            </a:r>
            <a:endParaRPr lang="en-GB" sz="2400" b="1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646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5" name="Group 4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4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5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0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Future-proofing the sector is a slightly different challeng</a:t>
            </a:r>
            <a:r>
              <a:rPr lang="en-GB" sz="2000" dirty="0" smtClean="0"/>
              <a:t>e </a:t>
            </a:r>
            <a:r>
              <a:rPr lang="en-GB" sz="2000" dirty="0" smtClean="0"/>
              <a:t>than ensuring the survival (in a recognisable form) of each institution</a:t>
            </a:r>
            <a:endParaRPr lang="en-GB" sz="2000" dirty="0"/>
          </a:p>
        </p:txBody>
      </p:sp>
      <p:sp>
        <p:nvSpPr>
          <p:cNvPr id="55" name="Page Number"/>
          <p:cNvSpPr txBox="1"/>
          <p:nvPr>
            <p:custDataLst>
              <p:tags r:id="rId3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900" noProof="1" smtClean="0"/>
              <a:t>4</a:t>
            </a:r>
            <a:endParaRPr lang="en-GB" sz="900" noProof="1" smtClean="0"/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How can the HE sector be future-proofed?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7" name="Section Header" hidden="1"/>
          <p:cNvSpPr txBox="1"/>
          <p:nvPr>
            <p:custDataLst>
              <p:tags r:id="rId5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356792" y="3166120"/>
            <a:ext cx="3168352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The UK HE Sector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5461248" y="3166120"/>
            <a:ext cx="3168352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.143 individual universities     (+ others)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620962" y="4529191"/>
            <a:ext cx="2816476" cy="138499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8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Forging a path to the future</a:t>
            </a:r>
          </a:p>
          <a:p>
            <a:pPr algn="ctr"/>
            <a:endParaRPr lang="en-GB" sz="1800" dirty="0" smtClean="0">
              <a:latin typeface="Georgia" pitchFamily="18" charset="0"/>
              <a:cs typeface="Arial" pitchFamily="34" charset="0"/>
            </a:endParaRPr>
          </a:p>
          <a:p>
            <a:pPr algn="ctr"/>
            <a:r>
              <a:rPr lang="en-GB" sz="18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vs.</a:t>
            </a:r>
          </a:p>
          <a:p>
            <a:pPr algn="ctr"/>
            <a:endParaRPr lang="en-GB" sz="1800" dirty="0" smtClean="0">
              <a:latin typeface="Georgia" pitchFamily="18" charset="0"/>
              <a:cs typeface="Arial" pitchFamily="34" charset="0"/>
            </a:endParaRPr>
          </a:p>
          <a:p>
            <a:pPr algn="ctr"/>
            <a:r>
              <a:rPr lang="en-GB" sz="18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Safeguarding our heritage</a:t>
            </a:r>
            <a:endParaRPr lang="en-GB" sz="1800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2" name="Content Placeholder 2"/>
          <p:cNvSpPr>
            <a:spLocks noGrp="1"/>
          </p:cNvSpPr>
          <p:nvPr>
            <p:ph sz="quarter" idx="24"/>
            <p:custDataLst>
              <p:tags r:id="rId6"/>
            </p:custDataLst>
          </p:nvPr>
        </p:nvSpPr>
        <p:spPr>
          <a:xfrm>
            <a:off x="700588" y="2306732"/>
            <a:ext cx="7954614" cy="453053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What are we trying to future-proof?</a:t>
            </a:r>
            <a:endParaRPr lang="en-GB" sz="2400" b="1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9427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5" name="Group 4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4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5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0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Future-proofing the sector is a slightly different challeng</a:t>
            </a:r>
            <a:r>
              <a:rPr lang="en-GB" sz="2000" dirty="0" smtClean="0"/>
              <a:t>e </a:t>
            </a:r>
            <a:r>
              <a:rPr lang="en-GB" sz="2000" dirty="0" smtClean="0"/>
              <a:t>than ensuring the survival (in a recognisable form) of each institution</a:t>
            </a:r>
            <a:endParaRPr lang="en-GB" sz="2000" dirty="0"/>
          </a:p>
        </p:txBody>
      </p:sp>
      <p:sp>
        <p:nvSpPr>
          <p:cNvPr id="55" name="Page Number"/>
          <p:cNvSpPr txBox="1"/>
          <p:nvPr>
            <p:custDataLst>
              <p:tags r:id="rId3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900" noProof="1" smtClean="0"/>
              <a:t>5</a:t>
            </a:r>
            <a:endParaRPr lang="en-GB" sz="900" noProof="1" smtClean="0"/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How can the HE sector be future-proofed?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7" name="Section Header" hidden="1"/>
          <p:cNvSpPr txBox="1"/>
          <p:nvPr>
            <p:custDataLst>
              <p:tags r:id="rId5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356792" y="3166120"/>
            <a:ext cx="3168352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The UK HE Sector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5461248" y="3166120"/>
            <a:ext cx="3168352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.143 individual universities     (+ others)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620962" y="4529191"/>
            <a:ext cx="2816476" cy="138499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8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Forging a path to the future</a:t>
            </a:r>
          </a:p>
          <a:p>
            <a:pPr algn="ctr"/>
            <a:endParaRPr lang="en-GB" sz="1800" dirty="0" smtClean="0">
              <a:latin typeface="Georgia" pitchFamily="18" charset="0"/>
              <a:cs typeface="Arial" pitchFamily="34" charset="0"/>
            </a:endParaRPr>
          </a:p>
          <a:p>
            <a:pPr algn="ctr"/>
            <a:r>
              <a:rPr lang="en-GB" sz="1800" b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AND</a:t>
            </a:r>
          </a:p>
          <a:p>
            <a:pPr algn="ctr"/>
            <a:endParaRPr lang="en-GB" sz="1800" dirty="0" smtClean="0">
              <a:latin typeface="Georgia" pitchFamily="18" charset="0"/>
              <a:cs typeface="Arial" pitchFamily="34" charset="0"/>
            </a:endParaRPr>
          </a:p>
          <a:p>
            <a:pPr algn="ctr"/>
            <a:r>
              <a:rPr lang="en-GB" sz="18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Safeguarding our heritage</a:t>
            </a:r>
            <a:endParaRPr lang="en-GB" sz="1800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2" name="Content Placeholder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00588" y="2306732"/>
            <a:ext cx="7954614" cy="45305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680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948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4000" indent="-2304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80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48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What are we trying to future-proof?</a:t>
            </a:r>
            <a:endParaRPr lang="en-GB" sz="2400" b="1" dirty="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1575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5" name="Group 4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4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5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0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Several challenges have emerged – but we’re going to focus on the threats to student volumes as the individual institution level</a:t>
            </a:r>
            <a:endParaRPr lang="en-GB" sz="2000" dirty="0"/>
          </a:p>
        </p:txBody>
      </p:sp>
      <p:sp>
        <p:nvSpPr>
          <p:cNvPr id="55" name="Page Number"/>
          <p:cNvSpPr txBox="1"/>
          <p:nvPr>
            <p:custDataLst>
              <p:tags r:id="rId3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900" noProof="1" smtClean="0"/>
              <a:t>6</a:t>
            </a:r>
            <a:endParaRPr lang="en-GB" sz="900" noProof="1" smtClean="0"/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How can the HE sector be future-proofed?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7" name="Section Header" hidden="1"/>
          <p:cNvSpPr txBox="1"/>
          <p:nvPr>
            <p:custDataLst>
              <p:tags r:id="rId5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 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8" name="Content Placeholder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00588" y="2306732"/>
            <a:ext cx="7954614" cy="45305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680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948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4000" indent="-2304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80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48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Why are we worried?</a:t>
            </a:r>
            <a:endParaRPr lang="en-GB" sz="2400" b="1" dirty="0">
              <a:solidFill>
                <a:schemeClr val="tx2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60400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International competition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2893704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hanging supply / demand ratio</a:t>
            </a:r>
            <a:endParaRPr lang="en-GB" sz="1600" b="1" dirty="0">
              <a:latin typeface="+mj-lt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7360312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Funding changes (and reductions)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5127008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ompetitive turbulence</a:t>
            </a:r>
            <a:endParaRPr lang="en-GB" sz="1600" b="1" dirty="0" smtClean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33088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5" name="Group 4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4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5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0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It is quite possible that a c.10-15% gap will open up between supply and demand over the next three years</a:t>
            </a:r>
            <a:endParaRPr lang="en-GB" sz="2000" dirty="0"/>
          </a:p>
        </p:txBody>
      </p:sp>
      <p:sp>
        <p:nvSpPr>
          <p:cNvPr id="55" name="Page Number"/>
          <p:cNvSpPr txBox="1"/>
          <p:nvPr>
            <p:custDataLst>
              <p:tags r:id="rId3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900" noProof="1" smtClean="0"/>
              <a:t>7</a:t>
            </a:r>
            <a:endParaRPr lang="en-GB" sz="900" noProof="1" smtClean="0"/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How can the HE sector be future-proofed?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7" name="Section Header" hidden="1"/>
          <p:cNvSpPr txBox="1"/>
          <p:nvPr>
            <p:custDataLst>
              <p:tags r:id="rId5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 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8" name="Content Placeholder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00588" y="2306732"/>
            <a:ext cx="7954614" cy="45305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680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948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4000" indent="-2304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80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48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Why are we worried?</a:t>
            </a:r>
            <a:endParaRPr lang="en-GB" sz="2400" b="1" dirty="0">
              <a:solidFill>
                <a:schemeClr val="tx2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75334" y="3958208"/>
            <a:ext cx="8707732" cy="280831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smtClean="0"/>
          </a:p>
        </p:txBody>
      </p:sp>
      <p:sp>
        <p:nvSpPr>
          <p:cNvPr id="62" name="Rectangle 61"/>
          <p:cNvSpPr/>
          <p:nvPr/>
        </p:nvSpPr>
        <p:spPr>
          <a:xfrm>
            <a:off x="2893704" y="3733800"/>
            <a:ext cx="2040736" cy="224408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smtClean="0"/>
          </a:p>
        </p:txBody>
      </p:sp>
      <p:sp>
        <p:nvSpPr>
          <p:cNvPr id="63" name="Rectangle 62"/>
          <p:cNvSpPr/>
          <p:nvPr/>
        </p:nvSpPr>
        <p:spPr>
          <a:xfrm>
            <a:off x="2900056" y="3886200"/>
            <a:ext cx="2025958" cy="216024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smtClean="0"/>
          </a:p>
        </p:txBody>
      </p:sp>
      <p:sp>
        <p:nvSpPr>
          <p:cNvPr id="72" name="Rectangle 71"/>
          <p:cNvSpPr/>
          <p:nvPr/>
        </p:nvSpPr>
        <p:spPr>
          <a:xfrm>
            <a:off x="660400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International competition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2893704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hanging supply / demand ratio</a:t>
            </a:r>
            <a:endParaRPr lang="en-GB" sz="1600" b="1" dirty="0">
              <a:latin typeface="+mj-lt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7360312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Funding changes (and reductions)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5127008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ompetitive turbulence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934390" y="4204081"/>
            <a:ext cx="3885460" cy="424942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Change in Demand </a:t>
            </a:r>
            <a:r>
              <a:rPr lang="en-GB" b="1" dirty="0" smtClean="0">
                <a:solidFill>
                  <a:schemeClr val="bg1"/>
                </a:solidFill>
                <a:latin typeface="+mj-lt"/>
              </a:rPr>
              <a:t>– 3 years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77" name="Table 76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73221622"/>
              </p:ext>
            </p:extLst>
          </p:nvPr>
        </p:nvGraphicFramePr>
        <p:xfrm>
          <a:off x="1006398" y="4690573"/>
          <a:ext cx="3785246" cy="1981200"/>
        </p:xfrm>
        <a:graphic>
          <a:graphicData uri="http://schemas.openxmlformats.org/drawingml/2006/table">
            <a:tbl>
              <a:tblPr firstRow="1" firstCol="1" bandRow="1">
                <a:tableStyleId>{74ED0A72-4B8E-423B-AE2F-120ADE3C16FB}</a:tableStyleId>
              </a:tblPr>
              <a:tblGrid>
                <a:gridCol w="2301013">
                  <a:extLst>
                    <a:ext uri="{9D8B030D-6E8A-4147-A177-3AD203B41FA5}">
                      <a16:colId xmlns:a16="http://schemas.microsoft.com/office/drawing/2014/main" val="465247376"/>
                    </a:ext>
                  </a:extLst>
                </a:gridCol>
                <a:gridCol w="1484233">
                  <a:extLst>
                    <a:ext uri="{9D8B030D-6E8A-4147-A177-3AD203B41FA5}">
                      <a16:colId xmlns:a16="http://schemas.microsoft.com/office/drawing/2014/main" val="3064679671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UK Demographics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2-4%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9975665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International volume (</a:t>
                      </a:r>
                      <a:r>
                        <a:rPr lang="en-GB" sz="1400" b="0" dirty="0" err="1" smtClean="0">
                          <a:solidFill>
                            <a:schemeClr val="tx1"/>
                          </a:solidFill>
                        </a:rPr>
                        <a:t>Brexit</a:t>
                      </a:r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-1-3</a:t>
                      </a:r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%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3238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Shift to Apprenticeships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-1% ?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13737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Growth in participation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+1-3</a:t>
                      </a:r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%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33034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chemeClr val="tx1"/>
                          </a:solidFill>
                        </a:rPr>
                        <a:t>Total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1"/>
                          </a:solidFill>
                        </a:rPr>
                        <a:t>-3-6%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45580329"/>
                  </a:ext>
                </a:extLst>
              </a:tr>
            </a:tbl>
          </a:graphicData>
        </a:graphic>
      </p:graphicFrame>
      <p:sp>
        <p:nvSpPr>
          <p:cNvPr id="78" name="Rectangle 77"/>
          <p:cNvSpPr/>
          <p:nvPr/>
        </p:nvSpPr>
        <p:spPr>
          <a:xfrm>
            <a:off x="5267942" y="4207129"/>
            <a:ext cx="3634134" cy="424942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dirty="0" smtClean="0">
                <a:solidFill>
                  <a:schemeClr val="bg1"/>
                </a:solidFill>
                <a:latin typeface="+mj-lt"/>
              </a:rPr>
              <a:t>Change in Supply </a:t>
            </a:r>
            <a:r>
              <a:rPr lang="en-GB" b="1" dirty="0" smtClean="0">
                <a:solidFill>
                  <a:schemeClr val="bg1"/>
                </a:solidFill>
                <a:latin typeface="+mj-lt"/>
              </a:rPr>
              <a:t>– 3 years</a:t>
            </a:r>
            <a:endParaRPr lang="en-GB" b="1" dirty="0" smtClean="0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79" name="Table 78"/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33021844"/>
              </p:ext>
            </p:extLst>
          </p:nvPr>
        </p:nvGraphicFramePr>
        <p:xfrm>
          <a:off x="5339950" y="4977001"/>
          <a:ext cx="3562126" cy="1275801"/>
        </p:xfrm>
        <a:graphic>
          <a:graphicData uri="http://schemas.openxmlformats.org/drawingml/2006/table">
            <a:tbl>
              <a:tblPr firstRow="1" firstCol="1" bandRow="1">
                <a:tableStyleId>{74ED0A72-4B8E-423B-AE2F-120ADE3C16FB}</a:tableStyleId>
              </a:tblPr>
              <a:tblGrid>
                <a:gridCol w="2165381">
                  <a:extLst>
                    <a:ext uri="{9D8B030D-6E8A-4147-A177-3AD203B41FA5}">
                      <a16:colId xmlns:a16="http://schemas.microsoft.com/office/drawing/2014/main" val="465247376"/>
                    </a:ext>
                  </a:extLst>
                </a:gridCol>
                <a:gridCol w="1396745">
                  <a:extLst>
                    <a:ext uri="{9D8B030D-6E8A-4147-A177-3AD203B41FA5}">
                      <a16:colId xmlns:a16="http://schemas.microsoft.com/office/drawing/2014/main" val="3064679671"/>
                    </a:ext>
                  </a:extLst>
                </a:gridCol>
              </a:tblGrid>
              <a:tr h="425267">
                <a:tc>
                  <a:txBody>
                    <a:bodyPr/>
                    <a:lstStyle/>
                    <a:p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PBSA</a:t>
                      </a:r>
                      <a:r>
                        <a:rPr lang="en-GB" sz="1400" b="0" baseline="0" dirty="0" smtClean="0">
                          <a:solidFill>
                            <a:schemeClr val="tx1"/>
                          </a:solidFill>
                        </a:rPr>
                        <a:t> beds </a:t>
                      </a:r>
                      <a:r>
                        <a:rPr lang="en-GB" sz="1400" b="0" baseline="0" dirty="0" smtClean="0">
                          <a:solidFill>
                            <a:schemeClr val="tx1"/>
                          </a:solidFill>
                        </a:rPr>
                        <a:t>forecast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+15%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1323875"/>
                  </a:ext>
                </a:extLst>
              </a:tr>
              <a:tr h="425267">
                <a:tc>
                  <a:txBody>
                    <a:bodyPr/>
                    <a:lstStyle/>
                    <a:p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Shift</a:t>
                      </a:r>
                      <a:r>
                        <a:rPr lang="en-GB" sz="1400" b="0" baseline="0" dirty="0" smtClean="0">
                          <a:solidFill>
                            <a:schemeClr val="tx1"/>
                          </a:solidFill>
                        </a:rPr>
                        <a:t> from private rental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>
                          <a:solidFill>
                            <a:schemeClr val="tx1"/>
                          </a:solidFill>
                        </a:rPr>
                        <a:t>1/3 to 1/2</a:t>
                      </a:r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2059306"/>
                  </a:ext>
                </a:extLst>
              </a:tr>
              <a:tr h="425267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chemeClr val="tx1"/>
                          </a:solidFill>
                        </a:rPr>
                        <a:t>Total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1"/>
                          </a:solidFill>
                        </a:rPr>
                        <a:t>+7.5% - 10%</a:t>
                      </a:r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0143176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278988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5" name="Group 4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4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5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0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If this happens, then until capacity reduces (or demand grows) then there will be empty spaces at universities – but where?</a:t>
            </a:r>
            <a:endParaRPr lang="en-GB" sz="2000" dirty="0"/>
          </a:p>
        </p:txBody>
      </p:sp>
      <p:sp>
        <p:nvSpPr>
          <p:cNvPr id="55" name="Page Number"/>
          <p:cNvSpPr txBox="1"/>
          <p:nvPr>
            <p:custDataLst>
              <p:tags r:id="rId3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900" noProof="1" smtClean="0"/>
              <a:t>8</a:t>
            </a:r>
            <a:endParaRPr lang="en-GB" sz="900" noProof="1" smtClean="0"/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How can the HE sector be future-proofed?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7" name="Section Header" hidden="1"/>
          <p:cNvSpPr txBox="1"/>
          <p:nvPr>
            <p:custDataLst>
              <p:tags r:id="rId5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 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8" name="Content Placeholder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700588" y="2306732"/>
            <a:ext cx="7954614" cy="45305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680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948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4000" indent="-2304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80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48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Why are we worried?</a:t>
            </a:r>
            <a:endParaRPr lang="en-GB" sz="2400" b="1" dirty="0">
              <a:solidFill>
                <a:schemeClr val="tx2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75334" y="3947963"/>
            <a:ext cx="8707732" cy="280831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smtClean="0"/>
          </a:p>
        </p:txBody>
      </p:sp>
      <p:sp>
        <p:nvSpPr>
          <p:cNvPr id="62" name="Rectangle 61"/>
          <p:cNvSpPr/>
          <p:nvPr/>
        </p:nvSpPr>
        <p:spPr>
          <a:xfrm>
            <a:off x="5127008" y="3733800"/>
            <a:ext cx="2040736" cy="215234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smtClean="0"/>
          </a:p>
        </p:txBody>
      </p:sp>
      <p:sp>
        <p:nvSpPr>
          <p:cNvPr id="63" name="Rectangle 62"/>
          <p:cNvSpPr/>
          <p:nvPr/>
        </p:nvSpPr>
        <p:spPr>
          <a:xfrm>
            <a:off x="5135562" y="3886200"/>
            <a:ext cx="2024061" cy="216024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smtClean="0"/>
          </a:p>
        </p:txBody>
      </p:sp>
      <p:sp>
        <p:nvSpPr>
          <p:cNvPr id="72" name="Rectangle 71"/>
          <p:cNvSpPr/>
          <p:nvPr/>
        </p:nvSpPr>
        <p:spPr>
          <a:xfrm>
            <a:off x="660400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International competition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2893704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hanging supply / demand ratio</a:t>
            </a:r>
            <a:endParaRPr lang="en-GB" sz="1600" b="1" dirty="0">
              <a:latin typeface="+mj-lt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7360312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Funding changes (and reductions)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5127008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ompetitive turbulence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943313" y="4406614"/>
            <a:ext cx="2810065" cy="184665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10-15% gap….</a:t>
            </a:r>
          </a:p>
          <a:p>
            <a:pPr algn="ctr"/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algn="ctr"/>
            <a:r>
              <a:rPr lang="en-GB" sz="24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=</a:t>
            </a:r>
          </a:p>
          <a:p>
            <a:pPr algn="ctr"/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algn="ctr"/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30% of institutions 30% empty</a:t>
            </a:r>
          </a:p>
          <a:p>
            <a:pPr algn="ctr"/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pPr algn="ctr"/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40% of institutions 40% empty</a:t>
            </a:r>
            <a:endParaRPr lang="en-GB" sz="1600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Right Arrow 80"/>
          <p:cNvSpPr/>
          <p:nvPr/>
        </p:nvSpPr>
        <p:spPr>
          <a:xfrm>
            <a:off x="4043879" y="5137366"/>
            <a:ext cx="584799" cy="431648"/>
          </a:xfrm>
          <a:prstGeom prst="rightArrow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smtClean="0"/>
          </a:p>
        </p:txBody>
      </p:sp>
      <p:sp>
        <p:nvSpPr>
          <p:cNvPr id="82" name="TextBox 81"/>
          <p:cNvSpPr txBox="1"/>
          <p:nvPr/>
        </p:nvSpPr>
        <p:spPr>
          <a:xfrm>
            <a:off x="4891407" y="4419058"/>
            <a:ext cx="1251946" cy="221599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Will vary by…</a:t>
            </a:r>
          </a:p>
          <a:p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r>
              <a:rPr lang="en-GB" sz="1600" dirty="0" smtClean="0">
                <a:latin typeface="Georgia" pitchFamily="18" charset="0"/>
                <a:cs typeface="Arial" pitchFamily="34" charset="0"/>
              </a:rPr>
              <a:t>…region</a:t>
            </a:r>
          </a:p>
          <a:p>
            <a:endParaRPr lang="en-GB" sz="1600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  <a:p>
            <a:r>
              <a:rPr lang="en-GB" sz="1600" dirty="0" smtClean="0">
                <a:latin typeface="Georgia" pitchFamily="18" charset="0"/>
                <a:cs typeface="Arial" pitchFamily="34" charset="0"/>
              </a:rPr>
              <a:t>…subject</a:t>
            </a:r>
          </a:p>
          <a:p>
            <a:endParaRPr lang="en-GB" sz="1600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  <a:p>
            <a:r>
              <a:rPr lang="en-GB" sz="1600" dirty="0" smtClean="0">
                <a:latin typeface="Georgia" pitchFamily="18" charset="0"/>
                <a:cs typeface="Arial" pitchFamily="34" charset="0"/>
              </a:rPr>
              <a:t>…tariff level</a:t>
            </a:r>
          </a:p>
          <a:p>
            <a:endParaRPr lang="en-GB" sz="1600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  <a:p>
            <a:endParaRPr lang="en-GB" sz="1600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Right Arrow 82"/>
          <p:cNvSpPr/>
          <p:nvPr/>
        </p:nvSpPr>
        <p:spPr>
          <a:xfrm>
            <a:off x="6393794" y="5121223"/>
            <a:ext cx="584799" cy="431648"/>
          </a:xfrm>
          <a:prstGeom prst="rightArrow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smtClean="0"/>
          </a:p>
        </p:txBody>
      </p:sp>
      <p:sp>
        <p:nvSpPr>
          <p:cNvPr id="84" name="TextBox 83"/>
          <p:cNvSpPr txBox="1"/>
          <p:nvPr/>
        </p:nvSpPr>
        <p:spPr>
          <a:xfrm>
            <a:off x="7226330" y="4419058"/>
            <a:ext cx="1973297" cy="221599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GB" sz="1600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Can be managed by…</a:t>
            </a:r>
          </a:p>
          <a:p>
            <a:endParaRPr lang="en-GB" sz="1600" dirty="0" smtClean="0">
              <a:latin typeface="Georgia" pitchFamily="18" charset="0"/>
              <a:cs typeface="Arial" pitchFamily="34" charset="0"/>
            </a:endParaRPr>
          </a:p>
          <a:p>
            <a:r>
              <a:rPr lang="en-GB" sz="1600" dirty="0" smtClean="0">
                <a:latin typeface="Georgia" pitchFamily="18" charset="0"/>
                <a:cs typeface="Arial" pitchFamily="34" charset="0"/>
              </a:rPr>
              <a:t>…”winning”</a:t>
            </a:r>
          </a:p>
          <a:p>
            <a:endParaRPr lang="en-GB" sz="1600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  <a:p>
            <a:r>
              <a:rPr lang="en-GB" sz="1600" dirty="0" smtClean="0">
                <a:latin typeface="Georgia" pitchFamily="18" charset="0"/>
                <a:cs typeface="Arial" pitchFamily="34" charset="0"/>
              </a:rPr>
              <a:t>…extending the core</a:t>
            </a:r>
          </a:p>
          <a:p>
            <a:endParaRPr lang="en-GB" sz="1600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  <a:p>
            <a:r>
              <a:rPr lang="en-GB" sz="1600" dirty="0" smtClean="0">
                <a:latin typeface="Georgia" pitchFamily="18" charset="0"/>
                <a:cs typeface="Arial" pitchFamily="34" charset="0"/>
              </a:rPr>
              <a:t>…shrinking</a:t>
            </a:r>
          </a:p>
          <a:p>
            <a:endParaRPr lang="en-GB" sz="1600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  <a:p>
            <a:endParaRPr lang="en-GB" sz="1600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97696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5" name="Group 4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4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6" name="Group 5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0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smtClean="0"/>
              <a:t>This raises the game for university senior leadership and governors, who will have to look harder for threats / opportunities</a:t>
            </a:r>
            <a:endParaRPr lang="en-GB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5" name="Page Number"/>
          <p:cNvSpPr txBox="1"/>
          <p:nvPr>
            <p:custDataLst>
              <p:tags r:id="rId4"/>
            </p:custDataLst>
          </p:nvPr>
        </p:nvSpPr>
        <p:spPr>
          <a:xfrm>
            <a:off x="9217152" y="7315200"/>
            <a:ext cx="320040" cy="1554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900" noProof="1" smtClean="0"/>
              <a:t>9</a:t>
            </a:r>
            <a:endParaRPr lang="en-GB" sz="900" noProof="1" smtClean="0"/>
          </a:p>
        </p:txBody>
      </p:sp>
      <p:sp>
        <p:nvSpPr>
          <p:cNvPr id="56" name="Section Footer"/>
          <p:cNvSpPr txBox="1"/>
          <p:nvPr>
            <p:custDataLst>
              <p:tags r:id="rId5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How can the HE sector be future-proofed?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7" name="Section Header" hidden="1"/>
          <p:cNvSpPr txBox="1"/>
          <p:nvPr>
            <p:custDataLst>
              <p:tags r:id="rId6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900" noProof="1" smtClean="0">
                <a:solidFill>
                  <a:schemeClr val="tx1"/>
                </a:solidFill>
              </a:rPr>
              <a:t> </a:t>
            </a:r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58" name="Content Placeholder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00588" y="2306732"/>
            <a:ext cx="7954614" cy="45305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680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948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4000" indent="-2304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80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48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2400" b="1" dirty="0" smtClean="0">
                <a:solidFill>
                  <a:schemeClr val="tx2"/>
                </a:solidFill>
              </a:rPr>
              <a:t>What’s the challenge?</a:t>
            </a:r>
            <a:endParaRPr lang="en-GB" sz="2400" b="1" dirty="0">
              <a:solidFill>
                <a:schemeClr val="tx2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60400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Understanding where you are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2893704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Spotting change</a:t>
            </a:r>
            <a:endParaRPr lang="en-GB" sz="1600" b="1" dirty="0">
              <a:latin typeface="+mj-lt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5127008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harting a course</a:t>
            </a:r>
            <a:endParaRPr lang="en-GB" sz="1600" b="1" dirty="0" smtClean="0">
              <a:latin typeface="+mj-lt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7360312" y="3166120"/>
            <a:ext cx="2040736" cy="567680"/>
          </a:xfrm>
          <a:prstGeom prst="rect">
            <a:avLst/>
          </a:prstGeom>
          <a:solidFill>
            <a:srgbClr val="C0C0C0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latin typeface="+mj-lt"/>
              </a:rPr>
              <a:t>Course correction</a:t>
            </a:r>
            <a:endParaRPr lang="en-GB" sz="1600" b="1" dirty="0" smtClean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34906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ABLE EXECUTIVE SUMMARY" val="Yes"/>
  <p:tag name="FOOTERHEIGHT" val="550"/>
  <p:tag name="FORECASTBOXCOLOR" val="252,212,182"/>
  <p:tag name="FORECASTBOXTRANSPARENCY" val="0"/>
  <p:tag name="HIGHLIGHTBOXCOLOR" val="232,230,223"/>
  <p:tag name="HIGHLIGHTBOXTRANSPARENCY" val="0"/>
  <p:tag name="HORIZONTALTOCTYPE" val="Header TOC"/>
  <p:tag name="INCLUDEINHORIZONTALTOC" val="Yes"/>
  <p:tag name="PAGINATIONSTART" val="Slide 1"/>
  <p:tag name="SHOWDISCLAIMERCLIENTNAME" val="No"/>
  <p:tag name="SHOWPRESENTATIONDISCLAIMER" val="Yes"/>
  <p:tag name="SMARTISVISIBLE" val="{@PresentationDisclaimer}!=No Disclaimer"/>
  <p:tag name="SMARTSHAPETYPE" val="PresentationDisclaimer"/>
  <p:tag name="SMARTTOCSLIDENUMBER" val="4"/>
  <p:tag name="SMRTDOCUMENTTYPE" val="2"/>
  <p:tag name="TABLEDEFAULTFONTSIZE" val="10"/>
  <p:tag name="TABLEHEADERFONTSIZE" val="12"/>
  <p:tag name="TABLESTYLEID" val="{74ED0A72-4B8E-423B-AE2F-120ADE3C16FB}"/>
  <p:tag name="TOCAPPENDIXTEXT" val="Appendices"/>
  <p:tag name="TOCOVERVIEWTEXT" val="Overview"/>
  <p:tag name="TOCPAGETEXT" val="Page"/>
  <p:tag name="TOCSECTIONHEADERTEXT" val="Section"/>
  <p:tag name="TOCSECTIONTEXT" val=" "/>
  <p:tag name="PICTURE" val="Occupied office space"/>
  <p:tag name="TOCTEXT" val="Contents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3C&quot; g=&quot;98&quot; b=&quot;03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GRIDON" val="No"/>
  <p:tag name="THINKCELLUNDODONOTDELETE" val="0"/>
  <p:tag name="SMARTTOCHYPERLINK" val="NO"/>
  <p:tag name="SHOW DRAFT STAMP" val="NO"/>
  <p:tag name="SHOW DATE FILEPATH" val="NO"/>
  <p:tag name="PRESENTATION THEME COLOR" val="Smart Report"/>
  <p:tag name="PRESENTATIONDISCLAIMER" val="No Disclaimer"/>
  <p:tag name="HASFRONTIMAGE" val="YES"/>
  <p:tag name="CONFIDENTIALITY STAMP" val="Strictly private and confidential"/>
  <p:tag name="LANGUAGE" val="English (UK)"/>
  <p:tag name="TITLE" val="How can the HE sector be future-proofed?"/>
  <p:tag name="SUBTITLE" val="Navigating the new landscape"/>
  <p:tag name="BUSINESSUNITCOVERTEXT" val="Education Strategy"/>
  <p:tag name="DRAFT STAMP" val="Draft"/>
  <p:tag name="REPORT DATE" val="13 June 201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44a28487-9d33-4997-a0c4-bf858f604282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44a28487-9d33-4997-a0c4-bf858f60428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heme/theme1.xml><?xml version="1.0" encoding="utf-8"?>
<a:theme xmlns:a="http://schemas.openxmlformats.org/drawingml/2006/main" name="TS report">
  <a:themeElements>
    <a:clrScheme name="Smart Report">
      <a:dk1>
        <a:srgbClr val="000000"/>
      </a:dk1>
      <a:lt1>
        <a:srgbClr val="FFFFFF"/>
      </a:lt1>
      <a:dk2>
        <a:srgbClr val="821A1A"/>
      </a:dk2>
      <a:lt2>
        <a:srgbClr val="FFFFFF"/>
      </a:lt2>
      <a:accent1>
        <a:srgbClr val="821A1A"/>
      </a:accent1>
      <a:accent2>
        <a:srgbClr val="D62E1C"/>
      </a:accent2>
      <a:accent3>
        <a:srgbClr val="FFCF48"/>
      </a:accent3>
      <a:accent4>
        <a:srgbClr val="E36A00"/>
      </a:accent4>
      <a:accent5>
        <a:srgbClr val="ABA591"/>
      </a:accent5>
      <a:accent6>
        <a:srgbClr val="877E62"/>
      </a:accent6>
      <a:hlink>
        <a:srgbClr val="821A1A"/>
      </a:hlink>
      <a:folHlink>
        <a:srgbClr val="821A1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S Report.potx" id="{071802B7-7FFF-479D-8786-482EC27BF884}" vid="{D14F25A4-A637-47FF-A761-E5BBC02D02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03700A8FCC04EA8D57FAEFAFFB663" ma:contentTypeVersion="0" ma:contentTypeDescription="Create a new document." ma:contentTypeScope="" ma:versionID="0487784a98a71a3d2abb319eaa9f30b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2C9F600-2EBE-4210-99C7-0C0805A3EA1D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B4606C2-EF58-4B93-AFA1-478C253DF32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B535A6-E7BA-4B53-A49D-5604F03897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S Report</Template>
  <TotalTime>22705</TotalTime>
  <Words>693</Words>
  <Application>Microsoft Office PowerPoint</Application>
  <PresentationFormat>Custom</PresentationFormat>
  <Paragraphs>173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Georgia</vt:lpstr>
      <vt:lpstr>Times New Roman</vt:lpstr>
      <vt:lpstr>Wingdings</vt:lpstr>
      <vt:lpstr>TS report</vt:lpstr>
      <vt:lpstr>think-cell Slide</vt:lpstr>
      <vt:lpstr>How can the HE sector be future-proofed?</vt:lpstr>
      <vt:lpstr>Future-proofing the sector is a slightly different challenge than ensuring the survival (in a recognisable form) of each institution</vt:lpstr>
      <vt:lpstr>Future-proofing the sector is a slightly different challenge than ensuring the survival (in a recognisable form) of each institution</vt:lpstr>
      <vt:lpstr>Future-proofing the sector is a slightly different challenge than ensuring the survival (in a recognisable form) of each institution</vt:lpstr>
      <vt:lpstr>Future-proofing the sector is a slightly different challenge than ensuring the survival (in a recognisable form) of each institution</vt:lpstr>
      <vt:lpstr>Several challenges have emerged – but we’re going to focus on the threats to student volumes as the individual institution level</vt:lpstr>
      <vt:lpstr>It is quite possible that a c.10-15% gap will open up between supply and demand over the next three years</vt:lpstr>
      <vt:lpstr>If this happens, then until capacity reduces (or demand grows) then there will be empty spaces at universities – but where?</vt:lpstr>
      <vt:lpstr>This raises the game for university senior leadership and governors, who will have to look harder for threats / opportunities</vt:lpstr>
      <vt:lpstr>This raises the game for university senior leadership and governors, who will have to look harder for threats / opportunities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Latour</dc:title>
  <dc:creator>Arvin Vaghela</dc:creator>
  <dc:description>TS report</dc:description>
  <cp:lastModifiedBy>Ian Koxvold</cp:lastModifiedBy>
  <cp:revision>513</cp:revision>
  <cp:lastPrinted>2019-02-04T14:18:42Z</cp:lastPrinted>
  <dcterms:created xsi:type="dcterms:W3CDTF">2018-05-21T13:07:28Z</dcterms:created>
  <dcterms:modified xsi:type="dcterms:W3CDTF">2019-06-12T16:4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mart Base Report Template Version">
    <vt:lpwstr>TS Global ND 20120913</vt:lpwstr>
  </property>
  <property fmtid="{D5CDD505-2E9C-101B-9397-08002B2CF9AE}" pid="3" name="Go Live Date">
    <vt:lpwstr>04_07_2017</vt:lpwstr>
  </property>
</Properties>
</file>